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35" r:id="rId2"/>
    <p:sldMasterId id="2147483710" r:id="rId3"/>
  </p:sldMasterIdLst>
  <p:sldIdLst>
    <p:sldId id="272" r:id="rId4"/>
    <p:sldId id="273" r:id="rId5"/>
    <p:sldId id="274" r:id="rId6"/>
  </p:sldIdLst>
  <p:sldSz cx="21674138" cy="16256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00"/>
    <a:srgbClr val="FFFF00"/>
    <a:srgbClr val="E2EE42"/>
    <a:srgbClr val="EA2A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39" d="100"/>
          <a:sy n="39" d="100"/>
        </p:scale>
        <p:origin x="13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.xml"/><Relationship Id="rId7" Type="http://schemas.openxmlformats.org/officeDocument/2006/relationships/oleObject" Target="../embeddings/oleObject6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.xml"/><Relationship Id="rId7" Type="http://schemas.openxmlformats.org/officeDocument/2006/relationships/oleObject" Target="../embeddings/oleObject8.bin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21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3.bin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.xml"/><Relationship Id="rId7" Type="http://schemas.openxmlformats.org/officeDocument/2006/relationships/oleObject" Target="../embeddings/oleObject27.bin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9.xml"/><Relationship Id="rId7" Type="http://schemas.openxmlformats.org/officeDocument/2006/relationships/oleObject" Target="../embeddings/oleObject29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1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.xml"/><Relationship Id="rId7" Type="http://schemas.openxmlformats.org/officeDocument/2006/relationships/oleObject" Target="../embeddings/oleObject33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5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.xml"/><Relationship Id="rId7" Type="http://schemas.openxmlformats.org/officeDocument/2006/relationships/oleObject" Target="../embeddings/oleObject37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9.xml"/><Relationship Id="rId7" Type="http://schemas.openxmlformats.org/officeDocument/2006/relationships/oleObject" Target="../embeddings/oleObject39.bin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1.xml"/><Relationship Id="rId7" Type="http://schemas.openxmlformats.org/officeDocument/2006/relationships/oleObject" Target="../embeddings/oleObject41.bin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4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11"/>
          <p:cNvSpPr/>
          <p:nvPr/>
        </p:nvSpPr>
        <p:spPr bwMode="hidden">
          <a:xfrm>
            <a:off x="425207" y="14107351"/>
            <a:ext cx="20819965" cy="170838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41325" tIns="341325" rIns="341325" bIns="341325" anchor="ctr"/>
          <a:lstStyle/>
          <a:p>
            <a:pPr defTabSz="235930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3318">
              <a:solidFill>
                <a:srgbClr val="000000"/>
              </a:solidFill>
              <a:ea typeface="宋体" pitchFamily="2" charset="-122"/>
            </a:endParaRPr>
          </a:p>
        </p:txBody>
      </p:sp>
      <p:sp>
        <p:nvSpPr>
          <p:cNvPr id="26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1E35CA97-7777-4F55-BC9F-A8E7AB9D7140}" type="slidenum">
              <a:rPr lang="en-US" altLang="zh-CN" sz="2370" smtClean="0">
                <a:solidFill>
                  <a:srgbClr val="000000"/>
                </a:solidFill>
                <a:ea typeface="宋体" panose="02010600030101010101" pitchFamily="2" charset="-122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sz="2370" smtClean="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cxnSp>
        <p:nvCxnSpPr>
          <p:cNvPr id="27" name="Straight Connector 10"/>
          <p:cNvCxnSpPr/>
          <p:nvPr/>
        </p:nvCxnSpPr>
        <p:spPr bwMode="gray">
          <a:xfrm>
            <a:off x="982112" y="2404535"/>
            <a:ext cx="19709919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29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4731610-2A7F-466A-A0A9-A91613DB8D72}" type="slidenum">
              <a:rPr lang="de-DE" altLang="zh-CN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911892"/>
      </p:ext>
    </p:extLst>
  </p:cSld>
  <p:clrMapOvr>
    <a:masterClrMapping/>
  </p:clrMapOvr>
  <p:transition>
    <p:blinds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0" y="1084263"/>
            <a:ext cx="6991350" cy="37925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9213850" y="2339975"/>
            <a:ext cx="10972800" cy="115522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92250" y="4876800"/>
            <a:ext cx="6991350" cy="90344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7192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223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511463" y="865188"/>
            <a:ext cx="4672012" cy="13776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90663" y="865188"/>
            <a:ext cx="13868400" cy="137763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051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36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21674138" cy="16256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426657" y="12402726"/>
            <a:ext cx="20820825" cy="341677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23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invGray">
          <a:xfrm>
            <a:off x="981310" y="1143467"/>
            <a:ext cx="19711519" cy="366933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9955" cap="all" baseline="0">
                <a:solidFill>
                  <a:srgbClr val="D40511"/>
                </a:solidFill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981310" y="14728533"/>
            <a:ext cx="14335650" cy="51200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844" b="1" baseline="0"/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8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981309" y="0"/>
            <a:ext cx="5129609" cy="411840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133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16297529" y="14532989"/>
            <a:ext cx="4266563" cy="6151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none" anchor="b"/>
          <a:lstStyle>
            <a:lvl1pPr>
              <a:defRPr sz="237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981310" y="4812801"/>
            <a:ext cx="19711519" cy="82407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741"/>
            </a:lvl1pPr>
            <a:lvl2pPr marL="0" algn="l" defTabSz="2359309" rtl="0" eaLnBrk="0" fontAlgn="base" latinLnBrk="0" hangingPunct="0">
              <a:spcAft>
                <a:spcPts val="3792"/>
              </a:spcAft>
              <a:defRPr lang="en-US" sz="474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2" name="Textplatzhalter 20"/>
          <p:cNvSpPr>
            <a:spLocks noGrp="1"/>
          </p:cNvSpPr>
          <p:nvPr>
            <p:ph type="body" sz="quarter" idx="23"/>
          </p:nvPr>
        </p:nvSpPr>
        <p:spPr>
          <a:xfrm>
            <a:off x="981310" y="5768533"/>
            <a:ext cx="19711519" cy="58309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844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3792"/>
              </a:spcAft>
              <a:defRPr sz="4741" b="0" baseline="0"/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194025"/>
      </p:ext>
    </p:extLst>
  </p:cSld>
  <p:clrMapOvr>
    <a:masterClrMapping/>
  </p:clrMapOvr>
  <p:transition>
    <p:blinds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7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36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21674138" cy="16256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426659" y="428978"/>
            <a:ext cx="20820825" cy="341677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23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981310" y="1851734"/>
            <a:ext cx="19711519" cy="366933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9955" cap="all" baseline="0">
                <a:solidFill>
                  <a:srgbClr val="D40511"/>
                </a:solidFill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981309" y="1058134"/>
            <a:ext cx="13004483" cy="561749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844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981309" y="14822400"/>
            <a:ext cx="5129609" cy="411840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133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2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16297529" y="1103691"/>
            <a:ext cx="4266563" cy="61515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none" anchor="b"/>
          <a:lstStyle>
            <a:lvl1pPr>
              <a:defRPr sz="237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5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981310" y="5521068"/>
            <a:ext cx="19711519" cy="82407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741"/>
            </a:lvl1pPr>
            <a:lvl2pPr marL="0" algn="l" defTabSz="2359309" rtl="0" eaLnBrk="0" fontAlgn="base" latinLnBrk="0" hangingPunct="0">
              <a:spcAft>
                <a:spcPts val="3792"/>
              </a:spcAft>
              <a:defRPr lang="en-US" sz="474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6" name="Textplatzhalter 20"/>
          <p:cNvSpPr>
            <a:spLocks noGrp="1"/>
          </p:cNvSpPr>
          <p:nvPr>
            <p:ph type="body" sz="quarter" idx="24"/>
          </p:nvPr>
        </p:nvSpPr>
        <p:spPr>
          <a:xfrm>
            <a:off x="981310" y="6476800"/>
            <a:ext cx="19711519" cy="58309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844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3792"/>
              </a:spcAft>
              <a:defRPr sz="4741" b="0" baseline="0"/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414880"/>
      </p:ext>
    </p:extLst>
  </p:cSld>
  <p:clrMapOvr>
    <a:masterClrMapping/>
  </p:clrMapOvr>
  <p:transition>
    <p:blinds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96997" y="14686846"/>
            <a:ext cx="4267096" cy="61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981310" y="2739200"/>
            <a:ext cx="19711519" cy="3669333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9955" cap="all" baseline="0">
                <a:solidFill>
                  <a:srgbClr val="D40511"/>
                </a:solidFill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981310" y="14873601"/>
            <a:ext cx="14335650" cy="444030"/>
          </a:xfrm>
          <a:prstGeom prst="rect">
            <a:avLst/>
          </a:prstGeom>
        </p:spPr>
        <p:txBody>
          <a:bodyPr/>
          <a:lstStyle>
            <a:lvl1pPr>
              <a:defRPr sz="2844" b="1"/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981309" y="0"/>
            <a:ext cx="5129609" cy="411840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133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981310" y="6408534"/>
            <a:ext cx="19711519" cy="82407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4741"/>
            </a:lvl1pPr>
            <a:lvl2pPr marL="0" algn="l" defTabSz="2359309" rtl="0" eaLnBrk="0" fontAlgn="base" latinLnBrk="0" hangingPunct="0">
              <a:spcAft>
                <a:spcPts val="3792"/>
              </a:spcAft>
              <a:defRPr lang="en-US" sz="474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981310" y="7364267"/>
            <a:ext cx="19711519" cy="58309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844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3792"/>
              </a:spcAft>
              <a:defRPr sz="4741" b="0" baseline="0"/>
            </a:lvl2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8184443"/>
      </p:ext>
    </p:extLst>
  </p:cSld>
  <p:clrMapOvr>
    <a:masterClrMapping/>
  </p:clrMapOvr>
  <p:transition>
    <p:blinds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30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21674138" cy="16256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426657" y="14105600"/>
            <a:ext cx="20820825" cy="170666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23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981310" y="2346667"/>
            <a:ext cx="14822038" cy="4795733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9955" cap="all" baseline="0">
                <a:solidFill>
                  <a:srgbClr val="D40511"/>
                </a:solidFill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981309" y="0"/>
            <a:ext cx="5129609" cy="411840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133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981309" y="14882134"/>
            <a:ext cx="2986594" cy="43060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none" anchor="b"/>
          <a:lstStyle>
            <a:lvl1pPr>
              <a:defRPr sz="237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32" name="Footer Placeholder 2"/>
          <p:cNvSpPr>
            <a:spLocks noGrp="1"/>
          </p:cNvSpPr>
          <p:nvPr>
            <p:ph type="ftr" sz="quarter" idx="23"/>
          </p:nvPr>
        </p:nvSpPr>
        <p:spPr bwMode="gray">
          <a:xfrm>
            <a:off x="5079877" y="14754579"/>
            <a:ext cx="14761745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33" name="Foliennummernplatzhalter 2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>
            <a:lvl1pPr>
              <a:defRPr/>
            </a:lvl1pPr>
          </a:lstStyle>
          <a:p>
            <a:fld id="{61BF9167-A0EF-445B-B245-A5AB72C973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439269"/>
      </p:ext>
    </p:extLst>
  </p:cSld>
  <p:clrMapOvr>
    <a:masterClrMapping/>
  </p:clrMapOvr>
  <p:transition>
    <p:blinds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32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21674138" cy="16256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426659" y="426667"/>
            <a:ext cx="20820825" cy="170666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23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/>
          </p:nvPr>
        </p:nvSpPr>
        <p:spPr bwMode="invGray">
          <a:xfrm>
            <a:off x="981310" y="3353600"/>
            <a:ext cx="14822038" cy="4795733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9955" cap="all" baseline="0">
                <a:solidFill>
                  <a:srgbClr val="D40511"/>
                </a:solidFill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981309" y="14822400"/>
            <a:ext cx="5129609" cy="411840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133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981309" y="875153"/>
            <a:ext cx="2986594" cy="43060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none" anchor="b"/>
          <a:lstStyle>
            <a:lvl1pPr>
              <a:defRPr sz="237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1312774"/>
      </p:ext>
    </p:extLst>
  </p:cSld>
  <p:clrMapOvr>
    <a:masterClrMapping/>
  </p:clrMapOvr>
  <p:transition>
    <p:blinds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4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0126CA0D-8C04-450E-8FB4-7595E1103CC1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pic>
        <p:nvPicPr>
          <p:cNvPr id="2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36"/>
          <p:cNvSpPr>
            <a:spLocks noGrp="1"/>
          </p:cNvSpPr>
          <p:nvPr>
            <p:ph type="title"/>
          </p:nvPr>
        </p:nvSpPr>
        <p:spPr bwMode="gray">
          <a:xfrm>
            <a:off x="981310" y="4096000"/>
            <a:ext cx="19583522" cy="4795733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9955" cap="all" baseline="0">
                <a:solidFill>
                  <a:srgbClr val="D40511"/>
                </a:solidFill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27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436062"/>
      </p:ext>
    </p:extLst>
  </p:cSld>
  <p:clrMapOvr>
    <a:masterClrMapping/>
  </p:clrMapOvr>
  <p:transition>
    <p:blinds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6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11"/>
          <p:cNvSpPr/>
          <p:nvPr/>
        </p:nvSpPr>
        <p:spPr bwMode="hidden">
          <a:xfrm>
            <a:off x="425207" y="14107351"/>
            <a:ext cx="20819965" cy="170838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41325" tIns="341325" rIns="341325" bIns="341325" anchor="ctr"/>
          <a:lstStyle/>
          <a:p>
            <a:pPr defTabSz="2359309">
              <a:defRPr/>
            </a:pPr>
            <a:endParaRPr lang="en-US" altLang="zh-CN" sz="3318">
              <a:latin typeface="Arial" charset="0"/>
              <a:ea typeface="宋体" pitchFamily="2" charset="-122"/>
            </a:endParaRPr>
          </a:p>
        </p:txBody>
      </p:sp>
      <p:sp>
        <p:nvSpPr>
          <p:cNvPr id="28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401FBCDC-69F4-4001-9311-D71F4D52BA7B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cxnSp>
        <p:nvCxnSpPr>
          <p:cNvPr id="30" name="Straight Connector 10"/>
          <p:cNvCxnSpPr/>
          <p:nvPr/>
        </p:nvCxnSpPr>
        <p:spPr bwMode="gray">
          <a:xfrm>
            <a:off x="982112" y="2404535"/>
            <a:ext cx="19709919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981309" y="2961067"/>
            <a:ext cx="9599766" cy="11272533"/>
          </a:xfrm>
          <a:prstGeom prst="rect">
            <a:avLst/>
          </a:prstGeom>
        </p:spPr>
        <p:txBody>
          <a:bodyPr/>
          <a:lstStyle>
            <a:lvl1pPr marL="639981" marR="0" indent="-639981" algn="l" defTabSz="2167402" rtl="0" eaLnBrk="1" fontAlgn="auto" latinLnBrk="0" hangingPunct="1">
              <a:lnSpc>
                <a:spcPct val="100000"/>
              </a:lnSpc>
              <a:spcBef>
                <a:spcPts val="3318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3318" b="1" baseline="0"/>
            </a:lvl1pPr>
            <a:lvl2pPr marL="639981" marR="0" indent="0" algn="l" defTabSz="2167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 sz="3318" b="0"/>
            </a:lvl2pPr>
            <a:lvl3pPr marL="426654" marR="0" indent="-42665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853308" marR="0" indent="-42665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1264318" marR="0" indent="-41391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11093063" y="2961067"/>
            <a:ext cx="9599766" cy="11272533"/>
          </a:xfrm>
          <a:prstGeom prst="rect">
            <a:avLst/>
          </a:prstGeom>
        </p:spPr>
        <p:txBody>
          <a:bodyPr/>
          <a:lstStyle>
            <a:lvl1pPr marL="632159" marR="0" indent="-632159" algn="l" defTabSz="2167402" rtl="0" eaLnBrk="1" fontAlgn="auto" latinLnBrk="0" hangingPunct="1">
              <a:lnSpc>
                <a:spcPct val="100000"/>
              </a:lnSpc>
              <a:spcBef>
                <a:spcPts val="3318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3318" b="1" baseline="0"/>
            </a:lvl1pPr>
            <a:lvl2pPr marL="639981" marR="0" indent="0" algn="l" defTabSz="2167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 sz="3318" b="0"/>
            </a:lvl2pPr>
            <a:lvl3pPr marL="426654" marR="0" indent="-42665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853308" marR="0" indent="-42665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1264318" marR="0" indent="-41391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981310" y="477867"/>
            <a:ext cx="19711519" cy="1689600"/>
          </a:xfr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33" name="Footer Placeholder 2"/>
          <p:cNvSpPr>
            <a:spLocks noGrp="1"/>
          </p:cNvSpPr>
          <p:nvPr>
            <p:ph type="ftr" sz="quarter" idx="34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499852"/>
      </p:ext>
    </p:extLst>
  </p:cSld>
  <p:clrMapOvr>
    <a:masterClrMapping/>
  </p:clrMapOvr>
  <p:transition>
    <p:blinds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09863" y="2660650"/>
            <a:ext cx="16254412" cy="56594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09863" y="8537575"/>
            <a:ext cx="16254412" cy="3925888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4525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40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hteck 11"/>
          <p:cNvSpPr/>
          <p:nvPr/>
        </p:nvSpPr>
        <p:spPr bwMode="hidden">
          <a:xfrm>
            <a:off x="425207" y="14107351"/>
            <a:ext cx="20819965" cy="170838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41325" tIns="341325" rIns="341325" bIns="341325" anchor="ctr"/>
          <a:lstStyle/>
          <a:p>
            <a:pPr defTabSz="2359309">
              <a:defRPr/>
            </a:pPr>
            <a:endParaRPr lang="en-US" altLang="zh-CN" sz="3318">
              <a:latin typeface="Arial" charset="0"/>
              <a:ea typeface="宋体" pitchFamily="2" charset="-122"/>
            </a:endParaRPr>
          </a:p>
        </p:txBody>
      </p:sp>
      <p:sp>
        <p:nvSpPr>
          <p:cNvPr id="42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0405FE02-AE86-4649-8AF6-8A450BF904E4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cxnSp>
        <p:nvCxnSpPr>
          <p:cNvPr id="43" name="Straight Connector 10"/>
          <p:cNvCxnSpPr/>
          <p:nvPr/>
        </p:nvCxnSpPr>
        <p:spPr bwMode="gray">
          <a:xfrm>
            <a:off x="982112" y="2404535"/>
            <a:ext cx="19709919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9043712" y="11218733"/>
            <a:ext cx="3672562" cy="2577631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13035382" y="11218733"/>
            <a:ext cx="3672562" cy="2577631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17027050" y="11218733"/>
            <a:ext cx="3672562" cy="2577631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/>
          </p:nvPr>
        </p:nvSpPr>
        <p:spPr bwMode="gray">
          <a:xfrm>
            <a:off x="9043897" y="10746503"/>
            <a:ext cx="3672562" cy="470888"/>
          </a:xfrm>
          <a:prstGeom prst="rect">
            <a:avLst/>
          </a:prstGeom>
        </p:spPr>
        <p:txBody>
          <a:bodyPr/>
          <a:lstStyle>
            <a:lvl1pPr>
              <a:defRPr sz="2370" b="0"/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/>
          </p:nvPr>
        </p:nvSpPr>
        <p:spPr bwMode="gray">
          <a:xfrm>
            <a:off x="13035475" y="10746503"/>
            <a:ext cx="3672562" cy="470888"/>
          </a:xfrm>
          <a:prstGeom prst="rect">
            <a:avLst/>
          </a:prstGeom>
        </p:spPr>
        <p:txBody>
          <a:bodyPr/>
          <a:lstStyle>
            <a:lvl1pPr>
              <a:defRPr sz="2370" b="0"/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/>
          </p:nvPr>
        </p:nvSpPr>
        <p:spPr bwMode="gray">
          <a:xfrm>
            <a:off x="17027050" y="10746503"/>
            <a:ext cx="3672562" cy="470888"/>
          </a:xfrm>
          <a:prstGeom prst="rect">
            <a:avLst/>
          </a:prstGeom>
        </p:spPr>
        <p:txBody>
          <a:bodyPr/>
          <a:lstStyle>
            <a:lvl1pPr>
              <a:defRPr sz="2370" b="0"/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981309" y="2961067"/>
            <a:ext cx="9599766" cy="7417036"/>
          </a:xfrm>
          <a:prstGeom prst="rect">
            <a:avLst/>
          </a:prstGeom>
        </p:spPr>
        <p:txBody>
          <a:bodyPr>
            <a:noAutofit/>
          </a:bodyPr>
          <a:lstStyle>
            <a:lvl1pPr marL="639981" marR="0" indent="-639981" algn="l" defTabSz="2167402" rtl="0" eaLnBrk="1" fontAlgn="auto" latinLnBrk="0" hangingPunct="1">
              <a:lnSpc>
                <a:spcPct val="100000"/>
              </a:lnSpc>
              <a:spcBef>
                <a:spcPts val="3318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3318" b="1" baseline="0"/>
            </a:lvl1pPr>
            <a:lvl2pPr marL="639981" marR="0" indent="0" algn="l" defTabSz="2167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 sz="3318" b="0"/>
            </a:lvl2pPr>
            <a:lvl3pPr marL="426654" marR="0" indent="-42665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853308" marR="0" indent="-42665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1264318" marR="0" indent="-41391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5052042" y="11218733"/>
            <a:ext cx="3672562" cy="2577631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/>
          </p:nvPr>
        </p:nvSpPr>
        <p:spPr bwMode="gray">
          <a:xfrm>
            <a:off x="5052319" y="10746503"/>
            <a:ext cx="3672562" cy="470888"/>
          </a:xfrm>
          <a:prstGeom prst="rect">
            <a:avLst/>
          </a:prstGeom>
        </p:spPr>
        <p:txBody>
          <a:bodyPr/>
          <a:lstStyle>
            <a:lvl1pPr>
              <a:defRPr sz="2370" b="0"/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45" name="Footer Placeholder 2"/>
          <p:cNvSpPr>
            <a:spLocks noGrp="1"/>
          </p:cNvSpPr>
          <p:nvPr>
            <p:ph type="ftr" sz="quarter" idx="36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285797"/>
      </p:ext>
    </p:extLst>
  </p:cSld>
  <p:clrMapOvr>
    <a:masterClrMapping/>
  </p:clrMapOvr>
  <p:transition>
    <p:blinds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6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11"/>
          <p:cNvSpPr/>
          <p:nvPr/>
        </p:nvSpPr>
        <p:spPr bwMode="hidden">
          <a:xfrm>
            <a:off x="425207" y="14107351"/>
            <a:ext cx="20819965" cy="170838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41325" tIns="341325" rIns="341325" bIns="341325" anchor="ctr"/>
          <a:lstStyle/>
          <a:p>
            <a:pPr defTabSz="2359309">
              <a:defRPr/>
            </a:pPr>
            <a:endParaRPr lang="en-US" altLang="zh-CN" sz="3318">
              <a:latin typeface="Arial" charset="0"/>
              <a:ea typeface="宋体" pitchFamily="2" charset="-122"/>
            </a:endParaRPr>
          </a:p>
        </p:txBody>
      </p:sp>
      <p:sp>
        <p:nvSpPr>
          <p:cNvPr id="28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1A7E8D90-42C0-4472-B498-5F80BE1B3F62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cxnSp>
        <p:nvCxnSpPr>
          <p:cNvPr id="29" name="Straight Connector 10"/>
          <p:cNvCxnSpPr/>
          <p:nvPr/>
        </p:nvCxnSpPr>
        <p:spPr bwMode="gray">
          <a:xfrm>
            <a:off x="982112" y="2404535"/>
            <a:ext cx="19709919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982112" y="2961067"/>
            <a:ext cx="19709919" cy="11272533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/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3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69130"/>
      </p:ext>
    </p:extLst>
  </p:cSld>
  <p:clrMapOvr>
    <a:masterClrMapping/>
  </p:clrMapOvr>
  <p:transition>
    <p:blinds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4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11"/>
          <p:cNvSpPr/>
          <p:nvPr/>
        </p:nvSpPr>
        <p:spPr bwMode="hidden">
          <a:xfrm>
            <a:off x="425207" y="14107351"/>
            <a:ext cx="20819965" cy="170838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41325" tIns="341325" rIns="341325" bIns="341325" anchor="ctr"/>
          <a:lstStyle/>
          <a:p>
            <a:pPr defTabSz="2359309">
              <a:defRPr/>
            </a:pPr>
            <a:endParaRPr lang="en-US" altLang="zh-CN" sz="3318">
              <a:latin typeface="Arial" charset="0"/>
              <a:ea typeface="宋体" pitchFamily="2" charset="-122"/>
            </a:endParaRPr>
          </a:p>
        </p:txBody>
      </p:sp>
      <p:sp>
        <p:nvSpPr>
          <p:cNvPr id="26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76BC346D-2CBA-4B6D-8B24-677BECAEBD75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cxnSp>
        <p:nvCxnSpPr>
          <p:cNvPr id="27" name="Straight Connector 10"/>
          <p:cNvCxnSpPr/>
          <p:nvPr/>
        </p:nvCxnSpPr>
        <p:spPr bwMode="gray">
          <a:xfrm>
            <a:off x="982112" y="2404535"/>
            <a:ext cx="19709919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29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485806"/>
      </p:ext>
    </p:extLst>
  </p:cSld>
  <p:clrMapOvr>
    <a:masterClrMapping/>
  </p:clrMapOvr>
  <p:transition>
    <p:blinds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0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8" name="Object 4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11"/>
          <p:cNvSpPr/>
          <p:nvPr/>
        </p:nvSpPr>
        <p:spPr bwMode="hidden">
          <a:xfrm>
            <a:off x="425207" y="14107351"/>
            <a:ext cx="20819965" cy="170838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41325" tIns="341325" rIns="341325" bIns="341325" anchor="ctr"/>
          <a:lstStyle/>
          <a:p>
            <a:pPr defTabSz="2359309">
              <a:defRPr/>
            </a:pPr>
            <a:endParaRPr lang="en-US" altLang="zh-CN" sz="3318">
              <a:latin typeface="Arial" charset="0"/>
              <a:ea typeface="宋体" pitchFamily="2" charset="-122"/>
            </a:endParaRPr>
          </a:p>
        </p:txBody>
      </p:sp>
      <p:sp>
        <p:nvSpPr>
          <p:cNvPr id="30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477D072D-1957-478A-A1C5-FEC7205EDE59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cxnSp>
        <p:nvCxnSpPr>
          <p:cNvPr id="31" name="Straight Connector 10"/>
          <p:cNvCxnSpPr/>
          <p:nvPr/>
        </p:nvCxnSpPr>
        <p:spPr bwMode="gray">
          <a:xfrm>
            <a:off x="982112" y="2404535"/>
            <a:ext cx="19709919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982110" y="2961064"/>
            <a:ext cx="9599766" cy="112725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11093063" y="2961064"/>
            <a:ext cx="9599766" cy="112725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981310" y="477867"/>
            <a:ext cx="19711519" cy="1689600"/>
          </a:xfr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33" name="Footer Placeholder 2"/>
          <p:cNvSpPr>
            <a:spLocks noGrp="1"/>
          </p:cNvSpPr>
          <p:nvPr>
            <p:ph type="ftr" sz="quarter" idx="34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894637"/>
      </p:ext>
    </p:extLst>
  </p:cSld>
  <p:clrMapOvr>
    <a:masterClrMapping/>
  </p:clrMapOvr>
  <p:transition>
    <p:blinds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0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8" name="Object 4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11"/>
          <p:cNvSpPr/>
          <p:nvPr/>
        </p:nvSpPr>
        <p:spPr bwMode="hidden">
          <a:xfrm>
            <a:off x="425207" y="14107351"/>
            <a:ext cx="20819965" cy="170838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41325" tIns="341325" rIns="341325" bIns="341325" anchor="ctr"/>
          <a:lstStyle/>
          <a:p>
            <a:pPr defTabSz="2359309">
              <a:defRPr/>
            </a:pPr>
            <a:endParaRPr lang="en-US" altLang="zh-CN" sz="3318">
              <a:latin typeface="Arial" charset="0"/>
              <a:ea typeface="宋体" pitchFamily="2" charset="-122"/>
            </a:endParaRPr>
          </a:p>
        </p:txBody>
      </p:sp>
      <p:sp>
        <p:nvSpPr>
          <p:cNvPr id="30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6F8029B6-E431-4AC4-86E2-83F7B89E040F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cxnSp>
        <p:nvCxnSpPr>
          <p:cNvPr id="31" name="Straight Connector 10"/>
          <p:cNvCxnSpPr/>
          <p:nvPr/>
        </p:nvCxnSpPr>
        <p:spPr bwMode="gray">
          <a:xfrm>
            <a:off x="982112" y="2404535"/>
            <a:ext cx="19709919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11093063" y="2961067"/>
            <a:ext cx="9599766" cy="11136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981310" y="477867"/>
            <a:ext cx="19711519" cy="1689600"/>
          </a:xfr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982110" y="2961064"/>
            <a:ext cx="9599766" cy="112725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/>
          </a:p>
        </p:txBody>
      </p:sp>
      <p:sp>
        <p:nvSpPr>
          <p:cNvPr id="33" name="Footer Placeholder 2"/>
          <p:cNvSpPr>
            <a:spLocks noGrp="1"/>
          </p:cNvSpPr>
          <p:nvPr>
            <p:ph type="ftr" sz="quarter" idx="33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897573"/>
      </p:ext>
    </p:extLst>
  </p:cSld>
  <p:clrMapOvr>
    <a:masterClrMapping/>
  </p:clrMapOvr>
  <p:transition>
    <p:blinds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9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32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11"/>
          <p:cNvSpPr/>
          <p:nvPr/>
        </p:nvSpPr>
        <p:spPr bwMode="hidden">
          <a:xfrm>
            <a:off x="425207" y="14107351"/>
            <a:ext cx="20819965" cy="170838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41325" tIns="341325" rIns="341325" bIns="341325" anchor="ctr"/>
          <a:lstStyle/>
          <a:p>
            <a:pPr defTabSz="2359309">
              <a:defRPr/>
            </a:pPr>
            <a:endParaRPr lang="en-US" altLang="zh-CN" sz="3318">
              <a:latin typeface="Arial" charset="0"/>
              <a:ea typeface="宋体" pitchFamily="2" charset="-122"/>
            </a:endParaRPr>
          </a:p>
        </p:txBody>
      </p:sp>
      <p:sp>
        <p:nvSpPr>
          <p:cNvPr id="34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E09E20EE-EF63-4E5E-93D9-D0C69AC173AC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cxnSp>
        <p:nvCxnSpPr>
          <p:cNvPr id="35" name="Straight Connector 10"/>
          <p:cNvCxnSpPr/>
          <p:nvPr/>
        </p:nvCxnSpPr>
        <p:spPr bwMode="gray">
          <a:xfrm>
            <a:off x="982112" y="2404535"/>
            <a:ext cx="19709919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11089182" y="2961067"/>
            <a:ext cx="9599766" cy="7936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11089183" y="11195734"/>
            <a:ext cx="4650553" cy="2901333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16042275" y="11195734"/>
            <a:ext cx="4650553" cy="2901333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18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982110" y="2961064"/>
            <a:ext cx="9599766" cy="112725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981310" y="477867"/>
            <a:ext cx="19711519" cy="1689600"/>
          </a:xfr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37" name="Footer Placeholder 2"/>
          <p:cNvSpPr>
            <a:spLocks noGrp="1"/>
          </p:cNvSpPr>
          <p:nvPr>
            <p:ph type="ftr" sz="quarter" idx="33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36529"/>
      </p:ext>
    </p:extLst>
  </p:cSld>
  <p:clrMapOvr>
    <a:masterClrMapping/>
  </p:clrMapOvr>
  <p:transition>
    <p:blinds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0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8" name="Object 4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21674138" cy="16256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981311" y="13208767"/>
            <a:ext cx="12567485" cy="162107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lIns="180000" tIns="432000" rIns="180000" bIns="180000" anchor="b">
            <a:spAutoFit/>
          </a:bodyPr>
          <a:lstStyle>
            <a:lvl1pPr>
              <a:defRPr sz="5926" b="0" baseline="0">
                <a:solidFill>
                  <a:srgbClr val="D40511"/>
                </a:solidFill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981309" y="0"/>
            <a:ext cx="5129609" cy="411840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133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4290275"/>
      </p:ext>
    </p:extLst>
  </p:cSld>
  <p:clrMapOvr>
    <a:masterClrMapping/>
  </p:clrMapOvr>
  <p:transition>
    <p:blinds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4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775F2AF3-2F19-4D63-820F-5C7782EFDC4F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pic>
        <p:nvPicPr>
          <p:cNvPr id="2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981310" y="3270016"/>
            <a:ext cx="19711519" cy="8079080"/>
          </a:xfrm>
          <a:prstGeom prst="rect">
            <a:avLst/>
          </a:prstGeom>
        </p:spPr>
        <p:txBody>
          <a:bodyPr lIns="900000" rIns="900000" anchor="ctr"/>
          <a:lstStyle>
            <a:lvl1pPr algn="l">
              <a:defRPr sz="7111" b="0">
                <a:solidFill>
                  <a:srgbClr val="D40511"/>
                </a:solidFill>
                <a:latin typeface="+mj-lt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6467628"/>
      </p:ext>
    </p:extLst>
  </p:cSld>
  <p:clrMapOvr>
    <a:masterClrMapping/>
  </p:clrMapOvr>
  <p:transition>
    <p:blinds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6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7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11"/>
          <p:cNvSpPr/>
          <p:nvPr/>
        </p:nvSpPr>
        <p:spPr bwMode="hidden">
          <a:xfrm>
            <a:off x="425207" y="14107351"/>
            <a:ext cx="20819965" cy="170838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341325" tIns="341325" rIns="341325" bIns="341325" anchor="ctr"/>
          <a:lstStyle/>
          <a:p>
            <a:pPr defTabSz="2359309">
              <a:defRPr/>
            </a:pPr>
            <a:endParaRPr lang="en-US" altLang="zh-CN" sz="3318">
              <a:latin typeface="Arial" charset="0"/>
              <a:ea typeface="宋体" pitchFamily="2" charset="-122"/>
            </a:endParaRPr>
          </a:p>
        </p:txBody>
      </p:sp>
      <p:sp>
        <p:nvSpPr>
          <p:cNvPr id="28" name="Rechteck 8"/>
          <p:cNvSpPr>
            <a:spLocks noChangeArrowheads="1"/>
          </p:cNvSpPr>
          <p:nvPr/>
        </p:nvSpPr>
        <p:spPr bwMode="gray">
          <a:xfrm>
            <a:off x="19837857" y="14754579"/>
            <a:ext cx="861699" cy="59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53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fld id="{3BD95A38-BF33-4CD8-B2AF-4AE5867DFF8A}" type="slidenum">
              <a:rPr lang="en-US" altLang="zh-CN" sz="2370" smtClean="0">
                <a:ea typeface="宋体" panose="02010600030101010101" pitchFamily="2" charset="-122"/>
              </a:rPr>
              <a:pPr algn="r">
                <a:defRPr/>
              </a:pPr>
              <a:t>‹#›</a:t>
            </a:fld>
            <a:endParaRPr lang="en-US" altLang="zh-CN" sz="2370" smtClean="0">
              <a:ea typeface="宋体" panose="02010600030101010101" pitchFamily="2" charset="-122"/>
            </a:endParaRPr>
          </a:p>
        </p:txBody>
      </p:sp>
      <p:cxnSp>
        <p:nvCxnSpPr>
          <p:cNvPr id="29" name="Straight Connector 10"/>
          <p:cNvCxnSpPr/>
          <p:nvPr/>
        </p:nvCxnSpPr>
        <p:spPr bwMode="gray">
          <a:xfrm>
            <a:off x="982112" y="2404535"/>
            <a:ext cx="19709919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981307" y="2961067"/>
            <a:ext cx="19711519" cy="11272533"/>
          </a:xfrm>
          <a:prstGeom prst="rect">
            <a:avLst/>
          </a:prstGeom>
        </p:spPr>
        <p:txBody>
          <a:bodyPr/>
          <a:lstStyle>
            <a:lvl1pPr marL="0" marR="0" indent="0" algn="l" defTabSz="2167402" rtl="0" eaLnBrk="1" fontAlgn="auto" latinLnBrk="0" hangingPunct="1">
              <a:lnSpc>
                <a:spcPct val="110000"/>
              </a:lnSpc>
              <a:spcBef>
                <a:spcPts val="3318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318" b="1"/>
            </a:lvl1pPr>
            <a:lvl2pPr marL="0" marR="0" indent="0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318" b="0"/>
            </a:lvl2pPr>
            <a:lvl3pPr marL="426654" marR="0" indent="-42665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853308" marR="0" indent="-42665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1264318" marR="0" indent="-413914" algn="l" defTabSz="216740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smtClean="0"/>
              <a:t>Click to edit Master title style</a:t>
            </a:r>
            <a:endParaRPr lang="en-US" noProof="0" dirty="0"/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11"/>
          </p:nvPr>
        </p:nvSpPr>
        <p:spPr bwMode="gray">
          <a:xfrm>
            <a:off x="5076115" y="14754579"/>
            <a:ext cx="14761742" cy="59831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37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8609"/>
      </p:ext>
    </p:extLst>
  </p:cSld>
  <p:clrMapOvr>
    <a:masterClrMapping/>
  </p:clrMapOvr>
  <p:transition>
    <p:blinds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3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31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21674138" cy="16256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/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981310" y="11033600"/>
            <a:ext cx="19711519" cy="1463794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14222"/>
              </a:lnSpc>
              <a:defRPr sz="9955" cap="all" baseline="0">
                <a:solidFill>
                  <a:srgbClr val="D40511"/>
                </a:solidFill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426657" y="14105600"/>
            <a:ext cx="20820825" cy="170666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23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981309" y="0"/>
            <a:ext cx="5129609" cy="411840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133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981309" y="14882134"/>
            <a:ext cx="2986594" cy="43060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none" anchor="b"/>
          <a:lstStyle>
            <a:lvl1pPr>
              <a:defRPr sz="237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1264218"/>
      </p:ext>
    </p:extLst>
  </p:cSld>
  <p:clrMapOvr>
    <a:masterClrMapping/>
  </p:clrMapOvr>
  <p:transition>
    <p:blinds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6268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32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21674138" cy="16256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zh-CN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426659" y="426667"/>
            <a:ext cx="20820825" cy="170666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tabLst>
                <a:tab pos="14675120" algn="l"/>
              </a:tabLst>
              <a:defRPr sz="23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/>
          </p:nvPr>
        </p:nvSpPr>
        <p:spPr bwMode="gray">
          <a:xfrm>
            <a:off x="981310" y="3191467"/>
            <a:ext cx="19711519" cy="1463794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14222"/>
              </a:lnSpc>
              <a:defRPr sz="9955" cap="all" baseline="0">
                <a:solidFill>
                  <a:srgbClr val="D40511"/>
                </a:solidFill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981309" y="14822400"/>
            <a:ext cx="5129609" cy="411840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2167402" rtl="0" eaLnBrk="1" latinLnBrk="0" hangingPunct="1">
              <a:lnSpc>
                <a:spcPct val="100000"/>
              </a:lnSpc>
              <a:spcAft>
                <a:spcPts val="0"/>
              </a:spcAft>
              <a:defRPr lang="en-US" sz="2133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981309" y="875153"/>
            <a:ext cx="2986594" cy="43060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none" anchor="b"/>
          <a:lstStyle>
            <a:lvl1pPr>
              <a:defRPr sz="237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5634604"/>
      </p:ext>
    </p:extLst>
  </p:cSld>
  <p:clrMapOvr>
    <a:masterClrMapping/>
  </p:clrMapOvr>
  <p:transition>
    <p:blinds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3" name="Object 2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5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112" y="14882521"/>
            <a:ext cx="2983956" cy="428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itle 36"/>
          <p:cNvSpPr>
            <a:spLocks noGrp="1"/>
          </p:cNvSpPr>
          <p:nvPr>
            <p:ph type="title"/>
          </p:nvPr>
        </p:nvSpPr>
        <p:spPr bwMode="gray">
          <a:xfrm>
            <a:off x="981310" y="3985067"/>
            <a:ext cx="19711519" cy="1774933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14222"/>
              </a:lnSpc>
              <a:defRPr sz="9955" cap="all" baseline="0">
                <a:solidFill>
                  <a:srgbClr val="D40511"/>
                </a:solidFill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1648849"/>
      </p:ext>
    </p:extLst>
  </p:cSld>
  <p:clrMapOvr>
    <a:masterClrMapping/>
  </p:clrMapOvr>
  <p:transition>
    <p:blinds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23" name="Date Placeholder 22" hidden="1"/>
          <p:cNvSpPr>
            <a:spLocks noGrp="1" noChangeArrowheads="1"/>
          </p:cNvSpPr>
          <p:nvPr>
            <p:ph type="dt" sz="half" idx="10"/>
          </p:nvPr>
        </p:nvSpPr>
        <p:spPr>
          <a:xfrm>
            <a:off x="12041188" y="15710373"/>
            <a:ext cx="2408238" cy="425214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charset="0"/>
              </a:defRPr>
            </a:lvl1pPr>
          </a:lstStyle>
          <a:p>
            <a:fld id="{0016E327-B07C-4846-A40D-597D6581378E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24" name="Footer Placeholder 23" hidden="1"/>
          <p:cNvSpPr>
            <a:spLocks noGrp="1" noChangeArrowheads="1"/>
          </p:cNvSpPr>
          <p:nvPr>
            <p:ph type="ftr" sz="quarter" idx="11"/>
          </p:nvPr>
        </p:nvSpPr>
        <p:spPr>
          <a:xfrm>
            <a:off x="5076115" y="14754579"/>
            <a:ext cx="14761742" cy="59831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863967"/>
      </p:ext>
    </p:extLst>
  </p:cSld>
  <p:clrMapOvr>
    <a:masterClrMapping/>
  </p:clrMapOvr>
  <p:transition>
    <p:blinds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1283141" y="466609"/>
            <a:ext cx="19107860" cy="14532563"/>
          </a:xfrm>
        </p:spPr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23" name="Date Placeholder 22" hidden="1"/>
          <p:cNvSpPr>
            <a:spLocks noGrp="1" noChangeArrowheads="1"/>
          </p:cNvSpPr>
          <p:nvPr>
            <p:ph type="dt" sz="half" idx="10"/>
          </p:nvPr>
        </p:nvSpPr>
        <p:spPr>
          <a:xfrm>
            <a:off x="12041188" y="15710373"/>
            <a:ext cx="2408238" cy="425214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charset="0"/>
              </a:defRPr>
            </a:lvl1pPr>
          </a:lstStyle>
          <a:p>
            <a:fld id="{0016E327-B07C-4846-A40D-597D6581378E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24" name="Footer Placeholder 23" hidden="1"/>
          <p:cNvSpPr>
            <a:spLocks noGrp="1" noChangeArrowheads="1"/>
          </p:cNvSpPr>
          <p:nvPr>
            <p:ph type="ftr" sz="quarter" idx="11"/>
          </p:nvPr>
        </p:nvSpPr>
        <p:spPr>
          <a:xfrm>
            <a:off x="5076115" y="14754579"/>
            <a:ext cx="14761742" cy="59831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909571"/>
      </p:ext>
    </p:extLst>
  </p:cSld>
  <p:clrMapOvr>
    <a:masterClrMapping/>
  </p:clrMapOvr>
  <p:transition>
    <p:blinds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US"/>
          </a:p>
        </p:txBody>
      </p:sp>
      <p:sp>
        <p:nvSpPr>
          <p:cNvPr id="24" name="Date Placeholder 23" hidden="1"/>
          <p:cNvSpPr>
            <a:spLocks noGrp="1" noChangeArrowheads="1"/>
          </p:cNvSpPr>
          <p:nvPr>
            <p:ph type="dt" sz="half" idx="10"/>
          </p:nvPr>
        </p:nvSpPr>
        <p:spPr>
          <a:xfrm>
            <a:off x="12041188" y="15710373"/>
            <a:ext cx="2408238" cy="425214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charset="0"/>
              </a:defRPr>
            </a:lvl1pPr>
          </a:lstStyle>
          <a:p>
            <a:fld id="{0016E327-B07C-4846-A40D-597D6581378E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25" name="Footer Placeholder 24" hidden="1"/>
          <p:cNvSpPr>
            <a:spLocks noGrp="1" noChangeArrowheads="1"/>
          </p:cNvSpPr>
          <p:nvPr>
            <p:ph type="ftr" sz="quarter" idx="11"/>
          </p:nvPr>
        </p:nvSpPr>
        <p:spPr>
          <a:xfrm>
            <a:off x="5076115" y="14754579"/>
            <a:ext cx="14761742" cy="59831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77902"/>
      </p:ext>
    </p:extLst>
  </p:cSld>
  <p:clrMapOvr>
    <a:masterClrMapping/>
  </p:clrMapOvr>
  <p:transition>
    <p:blinds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9550" y="4052888"/>
            <a:ext cx="18692813" cy="6761162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79550" y="10879138"/>
            <a:ext cx="18692813" cy="3556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1281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90663" y="4327525"/>
            <a:ext cx="9269412" cy="10313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12475" y="4327525"/>
            <a:ext cx="9271000" cy="10313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7746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0" y="865188"/>
            <a:ext cx="18694400" cy="31416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2250" y="3984625"/>
            <a:ext cx="9169400" cy="195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92250" y="5937250"/>
            <a:ext cx="9169400" cy="8734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972800" y="3984625"/>
            <a:ext cx="9213850" cy="19526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972800" y="5937250"/>
            <a:ext cx="9213850" cy="8734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245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254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6126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0" y="1084263"/>
            <a:ext cx="6991350" cy="3792537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13850" y="2339975"/>
            <a:ext cx="10972800" cy="115522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92250" y="4876800"/>
            <a:ext cx="6991350" cy="90344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097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vmlDrawing" Target="../drawings/vmlDrawing3.v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3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33"/>
          <p:cNvSpPr>
            <a:spLocks noGrp="1"/>
          </p:cNvSpPr>
          <p:nvPr>
            <p:ph type="title"/>
          </p:nvPr>
        </p:nvSpPr>
        <p:spPr bwMode="auto">
          <a:xfrm>
            <a:off x="982112" y="477899"/>
            <a:ext cx="19709919" cy="1689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8" name="Textplatzhalter 60"/>
          <p:cNvSpPr>
            <a:spLocks noGrp="1"/>
          </p:cNvSpPr>
          <p:nvPr>
            <p:ph type="body" idx="1"/>
          </p:nvPr>
        </p:nvSpPr>
        <p:spPr bwMode="auto">
          <a:xfrm>
            <a:off x="982112" y="2961453"/>
            <a:ext cx="19709919" cy="1127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grpSp>
        <p:nvGrpSpPr>
          <p:cNvPr id="1029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031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2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3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4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5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6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7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8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9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1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2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3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4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7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8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19837857" y="14754579"/>
            <a:ext cx="861699" cy="5983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2370">
                <a:ea typeface="宋体" panose="02010600030101010101" pitchFamily="2" charset="-122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4731610-2A7F-466A-A0A9-A91613DB8D72}" type="slidenum">
              <a:rPr lang="de-DE" altLang="zh-CN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923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</p:sldLayoutIdLst>
  <p:transition>
    <p:blinds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741" kern="1200">
          <a:solidFill>
            <a:srgbClr val="D4051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5pPr>
      <a:lvl6pPr marL="1083701" algn="l" rtl="0" fontAlgn="base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6pPr>
      <a:lvl7pPr marL="2167402" algn="l" rtl="0" fontAlgn="base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7pPr>
      <a:lvl8pPr marL="3251103" algn="l" rtl="0" fontAlgn="base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8pPr>
      <a:lvl9pPr marL="4334805" algn="l" rtl="0" fontAlgn="base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9pPr>
    </p:titleStyle>
    <p:bodyStyle>
      <a:lvl1pPr marL="812776" indent="-812776" algn="l" rtl="0" eaLnBrk="0" fontAlgn="base" hangingPunct="0">
        <a:lnSpc>
          <a:spcPct val="110000"/>
        </a:lnSpc>
        <a:spcBef>
          <a:spcPct val="0"/>
        </a:spcBef>
        <a:spcAft>
          <a:spcPts val="1185"/>
        </a:spcAft>
        <a:buFont typeface="Arial" panose="020B0604020202020204" pitchFamily="34" charset="0"/>
        <a:defRPr lang="de-DE" sz="3318" kern="1200">
          <a:solidFill>
            <a:schemeClr val="tx1"/>
          </a:solidFill>
          <a:latin typeface="+mn-lt"/>
          <a:ea typeface="+mn-ea"/>
          <a:cs typeface="+mn-cs"/>
        </a:defRPr>
      </a:lvl1pPr>
      <a:lvl2pPr marL="425203" indent="-425203" algn="l" rtl="0" eaLnBrk="0" fontAlgn="base" hangingPunct="0">
        <a:lnSpc>
          <a:spcPct val="110000"/>
        </a:lnSpc>
        <a:spcBef>
          <a:spcPct val="0"/>
        </a:spcBef>
        <a:spcAft>
          <a:spcPts val="1185"/>
        </a:spcAft>
        <a:buFont typeface="Arial" panose="020B0604020202020204" pitchFamily="34" charset="0"/>
        <a:buChar char="•"/>
        <a:defRPr lang="de-DE" sz="3318" kern="1200">
          <a:solidFill>
            <a:schemeClr val="tx1"/>
          </a:solidFill>
          <a:latin typeface="+mn-lt"/>
          <a:ea typeface="+mn-ea"/>
          <a:cs typeface="+mn-cs"/>
        </a:defRPr>
      </a:lvl2pPr>
      <a:lvl3pPr marL="850404" indent="-425203" algn="l" rtl="0" eaLnBrk="0" fontAlgn="base" hangingPunct="0">
        <a:lnSpc>
          <a:spcPct val="110000"/>
        </a:lnSpc>
        <a:spcBef>
          <a:spcPct val="0"/>
        </a:spcBef>
        <a:spcAft>
          <a:spcPts val="1185"/>
        </a:spcAft>
        <a:buClr>
          <a:schemeClr val="tx1"/>
        </a:buClr>
        <a:buFont typeface="Arial" panose="020B0604020202020204" pitchFamily="34" charset="0"/>
        <a:buChar char="–"/>
        <a:defRPr lang="de-DE" sz="3318" kern="1200">
          <a:solidFill>
            <a:schemeClr val="tx1"/>
          </a:solidFill>
          <a:latin typeface="+mn-lt"/>
          <a:ea typeface="+mn-ea"/>
          <a:cs typeface="+mn-cs"/>
        </a:defRPr>
      </a:lvl3pPr>
      <a:lvl4pPr marL="1279369" indent="-425203" algn="l" rtl="0" eaLnBrk="0" fontAlgn="base" hangingPunct="0">
        <a:lnSpc>
          <a:spcPct val="110000"/>
        </a:lnSpc>
        <a:spcBef>
          <a:spcPct val="0"/>
        </a:spcBef>
        <a:spcAft>
          <a:spcPts val="1185"/>
        </a:spcAft>
        <a:buClr>
          <a:schemeClr val="tx1"/>
        </a:buClr>
        <a:buFont typeface="Arial" panose="020B0604020202020204" pitchFamily="34" charset="0"/>
        <a:buChar char="–"/>
        <a:defRPr lang="de-DE" sz="3318" kern="1200">
          <a:solidFill>
            <a:schemeClr val="tx1"/>
          </a:solidFill>
          <a:latin typeface="+mn-lt"/>
          <a:ea typeface="+mn-ea"/>
          <a:cs typeface="+mn-cs"/>
        </a:defRPr>
      </a:lvl4pPr>
      <a:lvl5pPr marL="4876655" indent="-541851" algn="l" rtl="0" eaLnBrk="0" fontAlgn="base" hangingPunct="0">
        <a:spcBef>
          <a:spcPct val="0"/>
        </a:spcBef>
        <a:spcAft>
          <a:spcPts val="3318"/>
        </a:spcAft>
        <a:buClr>
          <a:schemeClr val="tx1"/>
        </a:buClr>
        <a:defRPr lang="en-US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5960356" indent="-541851" algn="l" defTabSz="2167402" rtl="0" eaLnBrk="1" latinLnBrk="0" hangingPunct="1">
        <a:spcBef>
          <a:spcPct val="20000"/>
        </a:spcBef>
        <a:buFont typeface="Arial" pitchFamily="34" charset="0"/>
        <a:buChar char="•"/>
        <a:defRPr sz="4741" kern="1200">
          <a:solidFill>
            <a:schemeClr val="tx1"/>
          </a:solidFill>
          <a:latin typeface="+mn-lt"/>
          <a:ea typeface="+mn-ea"/>
          <a:cs typeface="+mn-cs"/>
        </a:defRPr>
      </a:lvl6pPr>
      <a:lvl7pPr marL="7044058" indent="-541851" algn="l" defTabSz="2167402" rtl="0" eaLnBrk="1" latinLnBrk="0" hangingPunct="1">
        <a:spcBef>
          <a:spcPct val="20000"/>
        </a:spcBef>
        <a:buFont typeface="Arial" pitchFamily="34" charset="0"/>
        <a:buChar char="•"/>
        <a:defRPr sz="4741" kern="1200">
          <a:solidFill>
            <a:schemeClr val="tx1"/>
          </a:solidFill>
          <a:latin typeface="+mn-lt"/>
          <a:ea typeface="+mn-ea"/>
          <a:cs typeface="+mn-cs"/>
        </a:defRPr>
      </a:lvl7pPr>
      <a:lvl8pPr marL="8127759" indent="-541851" algn="l" defTabSz="2167402" rtl="0" eaLnBrk="1" latinLnBrk="0" hangingPunct="1">
        <a:spcBef>
          <a:spcPct val="20000"/>
        </a:spcBef>
        <a:buFont typeface="Arial" pitchFamily="34" charset="0"/>
        <a:buChar char="•"/>
        <a:defRPr sz="4741" kern="1200">
          <a:solidFill>
            <a:schemeClr val="tx1"/>
          </a:solidFill>
          <a:latin typeface="+mn-lt"/>
          <a:ea typeface="+mn-ea"/>
          <a:cs typeface="+mn-cs"/>
        </a:defRPr>
      </a:lvl8pPr>
      <a:lvl9pPr marL="9211460" indent="-541851" algn="l" defTabSz="2167402" rtl="0" eaLnBrk="1" latinLnBrk="0" hangingPunct="1">
        <a:spcBef>
          <a:spcPct val="20000"/>
        </a:spcBef>
        <a:buFont typeface="Arial" pitchFamily="34" charset="0"/>
        <a:buChar char="•"/>
        <a:defRPr sz="47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1083701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167402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3pPr>
      <a:lvl4pPr marL="3251103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4pPr>
      <a:lvl5pPr marL="4334805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5pPr>
      <a:lvl6pPr marL="5418506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6pPr>
      <a:lvl7pPr marL="6502207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7pPr>
      <a:lvl8pPr marL="7585908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8pPr>
      <a:lvl9pPr marL="8669609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90663" y="865188"/>
            <a:ext cx="18692812" cy="31416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0663" y="4327525"/>
            <a:ext cx="18692812" cy="10313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90663" y="15066963"/>
            <a:ext cx="48768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28809-5776-4F64-AA35-8D089C01B381}" type="datetimeFigureOut">
              <a:rPr lang="en-US" smtClean="0"/>
              <a:t>2/2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80263" y="15066963"/>
            <a:ext cx="7313612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306675" y="15066963"/>
            <a:ext cx="4876800" cy="865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8D00C2-82FB-47D5-B01D-AE7B88276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79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31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3765" y="3765"/>
          <a:ext cx="3762" cy="3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Folie" r:id="rId26" imgW="360" imgH="360" progId="TCLayout.ActiveDocument.1">
                  <p:embed/>
                </p:oleObj>
              </mc:Choice>
              <mc:Fallback>
                <p:oleObj name="think-cell Foli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5" y="3765"/>
                        <a:ext cx="3762" cy="3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33"/>
          <p:cNvSpPr>
            <a:spLocks noGrp="1"/>
          </p:cNvSpPr>
          <p:nvPr>
            <p:ph type="title"/>
          </p:nvPr>
        </p:nvSpPr>
        <p:spPr bwMode="auto">
          <a:xfrm>
            <a:off x="982112" y="477899"/>
            <a:ext cx="19709919" cy="1689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8" name="Textplatzhalter 60"/>
          <p:cNvSpPr>
            <a:spLocks noGrp="1"/>
          </p:cNvSpPr>
          <p:nvPr>
            <p:ph type="body" idx="1"/>
          </p:nvPr>
        </p:nvSpPr>
        <p:spPr bwMode="auto">
          <a:xfrm>
            <a:off x="982112" y="2961453"/>
            <a:ext cx="19709919" cy="1127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grpSp>
        <p:nvGrpSpPr>
          <p:cNvPr id="1029" name="dpic_guideLines" hidden="1"/>
          <p:cNvGrpSpPr>
            <a:grpSpLocks/>
          </p:cNvGrpSpPr>
          <p:nvPr/>
        </p:nvGrpSpPr>
        <p:grpSpPr bwMode="auto">
          <a:xfrm>
            <a:off x="-26341" y="0"/>
            <a:ext cx="21677902" cy="16256000"/>
            <a:chOff x="-1587" y="0"/>
            <a:chExt cx="9145587" cy="6858000"/>
          </a:xfrm>
        </p:grpSpPr>
        <p:cxnSp>
          <p:nvCxnSpPr>
            <p:cNvPr id="1031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2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3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4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5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6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7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8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9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1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2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3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4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7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48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19837857" y="14754579"/>
            <a:ext cx="861699" cy="5983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2370">
                <a:ea typeface="宋体" panose="02010600030101010101" pitchFamily="2" charset="-122"/>
              </a:defRPr>
            </a:lvl1pPr>
          </a:lstStyle>
          <a:p>
            <a:fld id="{61BF9167-A0EF-445B-B245-A5AB72C973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077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1" r:id="rId20"/>
    <p:sldLayoutId id="2147483732" r:id="rId21"/>
    <p:sldLayoutId id="2147483734" r:id="rId22"/>
  </p:sldLayoutIdLst>
  <p:transition>
    <p:blinds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4741" kern="1200">
          <a:solidFill>
            <a:srgbClr val="D4051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5pPr>
      <a:lvl6pPr marL="1083701" algn="l" rtl="0" eaLnBrk="1" fontAlgn="base" hangingPunct="1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6pPr>
      <a:lvl7pPr marL="2167402" algn="l" rtl="0" eaLnBrk="1" fontAlgn="base" hangingPunct="1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7pPr>
      <a:lvl8pPr marL="3251103" algn="l" rtl="0" eaLnBrk="1" fontAlgn="base" hangingPunct="1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8pPr>
      <a:lvl9pPr marL="4334805" algn="l" rtl="0" eaLnBrk="1" fontAlgn="base" hangingPunct="1">
        <a:spcBef>
          <a:spcPct val="0"/>
        </a:spcBef>
        <a:spcAft>
          <a:spcPct val="0"/>
        </a:spcAft>
        <a:defRPr sz="4741">
          <a:solidFill>
            <a:srgbClr val="D40511"/>
          </a:solidFill>
          <a:latin typeface="Arial" charset="0"/>
        </a:defRPr>
      </a:lvl9pPr>
    </p:titleStyle>
    <p:bodyStyle>
      <a:lvl1pPr marL="812776" indent="-812776" algn="l" rtl="0" eaLnBrk="1" fontAlgn="base" hangingPunct="1">
        <a:lnSpc>
          <a:spcPct val="110000"/>
        </a:lnSpc>
        <a:spcBef>
          <a:spcPct val="0"/>
        </a:spcBef>
        <a:spcAft>
          <a:spcPts val="1185"/>
        </a:spcAft>
        <a:buFont typeface="Arial" panose="020B0604020202020204" pitchFamily="34" charset="0"/>
        <a:defRPr lang="de-DE" sz="3318" kern="1200">
          <a:solidFill>
            <a:schemeClr val="tx1"/>
          </a:solidFill>
          <a:latin typeface="+mn-lt"/>
          <a:ea typeface="+mn-ea"/>
          <a:cs typeface="+mn-cs"/>
        </a:defRPr>
      </a:lvl1pPr>
      <a:lvl2pPr marL="425203" indent="-425203" algn="l" rtl="0" eaLnBrk="1" fontAlgn="base" hangingPunct="1">
        <a:lnSpc>
          <a:spcPct val="110000"/>
        </a:lnSpc>
        <a:spcBef>
          <a:spcPct val="0"/>
        </a:spcBef>
        <a:spcAft>
          <a:spcPts val="1185"/>
        </a:spcAft>
        <a:buFont typeface="Arial" panose="020B0604020202020204" pitchFamily="34" charset="0"/>
        <a:buChar char="•"/>
        <a:defRPr lang="de-DE" sz="3318" kern="1200">
          <a:solidFill>
            <a:schemeClr val="tx1"/>
          </a:solidFill>
          <a:latin typeface="+mn-lt"/>
          <a:ea typeface="+mn-ea"/>
          <a:cs typeface="+mn-cs"/>
        </a:defRPr>
      </a:lvl2pPr>
      <a:lvl3pPr marL="850404" indent="-425203" algn="l" rtl="0" eaLnBrk="1" fontAlgn="base" hangingPunct="1">
        <a:lnSpc>
          <a:spcPct val="110000"/>
        </a:lnSpc>
        <a:spcBef>
          <a:spcPct val="0"/>
        </a:spcBef>
        <a:spcAft>
          <a:spcPts val="1185"/>
        </a:spcAft>
        <a:buClr>
          <a:schemeClr val="tx1"/>
        </a:buClr>
        <a:buFont typeface="Arial" panose="020B0604020202020204" pitchFamily="34" charset="0"/>
        <a:buChar char="–"/>
        <a:defRPr lang="de-DE" sz="3318" kern="1200">
          <a:solidFill>
            <a:schemeClr val="tx1"/>
          </a:solidFill>
          <a:latin typeface="+mn-lt"/>
          <a:ea typeface="+mn-ea"/>
          <a:cs typeface="+mn-cs"/>
        </a:defRPr>
      </a:lvl3pPr>
      <a:lvl4pPr marL="1279369" indent="-425203" algn="l" rtl="0" eaLnBrk="1" fontAlgn="base" hangingPunct="1">
        <a:lnSpc>
          <a:spcPct val="110000"/>
        </a:lnSpc>
        <a:spcBef>
          <a:spcPct val="0"/>
        </a:spcBef>
        <a:spcAft>
          <a:spcPts val="1185"/>
        </a:spcAft>
        <a:buClr>
          <a:schemeClr val="tx1"/>
        </a:buClr>
        <a:buFont typeface="Arial" panose="020B0604020202020204" pitchFamily="34" charset="0"/>
        <a:buChar char="–"/>
        <a:defRPr lang="de-DE" sz="3318" kern="1200">
          <a:solidFill>
            <a:schemeClr val="tx1"/>
          </a:solidFill>
          <a:latin typeface="+mn-lt"/>
          <a:ea typeface="+mn-ea"/>
          <a:cs typeface="+mn-cs"/>
        </a:defRPr>
      </a:lvl4pPr>
      <a:lvl5pPr marL="4876655" indent="-541851" algn="l" rtl="0" eaLnBrk="1" fontAlgn="base" hangingPunct="1">
        <a:spcBef>
          <a:spcPct val="0"/>
        </a:spcBef>
        <a:spcAft>
          <a:spcPts val="3318"/>
        </a:spcAft>
        <a:buClr>
          <a:schemeClr val="tx1"/>
        </a:buClr>
        <a:defRPr lang="en-US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5960356" indent="-541851" algn="l" defTabSz="2167402" rtl="0" eaLnBrk="1" latinLnBrk="0" hangingPunct="1">
        <a:spcBef>
          <a:spcPct val="20000"/>
        </a:spcBef>
        <a:buFont typeface="Arial" pitchFamily="34" charset="0"/>
        <a:buChar char="•"/>
        <a:defRPr sz="4741" kern="1200">
          <a:solidFill>
            <a:schemeClr val="tx1"/>
          </a:solidFill>
          <a:latin typeface="+mn-lt"/>
          <a:ea typeface="+mn-ea"/>
          <a:cs typeface="+mn-cs"/>
        </a:defRPr>
      </a:lvl6pPr>
      <a:lvl7pPr marL="7044058" indent="-541851" algn="l" defTabSz="2167402" rtl="0" eaLnBrk="1" latinLnBrk="0" hangingPunct="1">
        <a:spcBef>
          <a:spcPct val="20000"/>
        </a:spcBef>
        <a:buFont typeface="Arial" pitchFamily="34" charset="0"/>
        <a:buChar char="•"/>
        <a:defRPr sz="4741" kern="1200">
          <a:solidFill>
            <a:schemeClr val="tx1"/>
          </a:solidFill>
          <a:latin typeface="+mn-lt"/>
          <a:ea typeface="+mn-ea"/>
          <a:cs typeface="+mn-cs"/>
        </a:defRPr>
      </a:lvl7pPr>
      <a:lvl8pPr marL="8127759" indent="-541851" algn="l" defTabSz="2167402" rtl="0" eaLnBrk="1" latinLnBrk="0" hangingPunct="1">
        <a:spcBef>
          <a:spcPct val="20000"/>
        </a:spcBef>
        <a:buFont typeface="Arial" pitchFamily="34" charset="0"/>
        <a:buChar char="•"/>
        <a:defRPr sz="4741" kern="1200">
          <a:solidFill>
            <a:schemeClr val="tx1"/>
          </a:solidFill>
          <a:latin typeface="+mn-lt"/>
          <a:ea typeface="+mn-ea"/>
          <a:cs typeface="+mn-cs"/>
        </a:defRPr>
      </a:lvl8pPr>
      <a:lvl9pPr marL="9211460" indent="-541851" algn="l" defTabSz="2167402" rtl="0" eaLnBrk="1" latinLnBrk="0" hangingPunct="1">
        <a:spcBef>
          <a:spcPct val="20000"/>
        </a:spcBef>
        <a:buFont typeface="Arial" pitchFamily="34" charset="0"/>
        <a:buChar char="•"/>
        <a:defRPr sz="47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1083701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167402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3pPr>
      <a:lvl4pPr marL="3251103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4pPr>
      <a:lvl5pPr marL="4334805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5pPr>
      <a:lvl6pPr marL="5418506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6pPr>
      <a:lvl7pPr marL="6502207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7pPr>
      <a:lvl8pPr marL="7585908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8pPr>
      <a:lvl9pPr marL="8669609" algn="l" defTabSz="2167402" rtl="0" eaLnBrk="1" latinLnBrk="0" hangingPunct="1">
        <a:defRPr sz="42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5400" b="1" dirty="0" smtClean="0"/>
              <a:t>电子报关委托书操作流程</a:t>
            </a:r>
            <a:endParaRPr lang="zh-CN" altLang="en-US" sz="5400" b="1" dirty="0"/>
          </a:p>
        </p:txBody>
      </p:sp>
      <p:sp>
        <p:nvSpPr>
          <p:cNvPr id="3" name="Rectangle 2"/>
          <p:cNvSpPr/>
          <p:nvPr/>
        </p:nvSpPr>
        <p:spPr>
          <a:xfrm>
            <a:off x="2012041" y="2969555"/>
            <a:ext cx="1048876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TEP </a:t>
            </a:r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1   </a:t>
            </a:r>
            <a:r>
              <a:rPr lang="zh-CN" alt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登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录“中国国际贸易单一窗口”官网</a:t>
            </a:r>
            <a:endParaRPr lang="en-US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179928" y="3809350"/>
            <a:ext cx="6657143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ttps://www.singlewindow.cn</a:t>
            </a:r>
            <a:endParaRPr lang="en-US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5911" y="5759795"/>
            <a:ext cx="15609306" cy="731365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179928" y="4689624"/>
            <a:ext cx="11469807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点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击“货物申报”模块内“报关代理委托”子模块</a:t>
            </a:r>
            <a:endParaRPr lang="en-US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97871" y="12987594"/>
            <a:ext cx="2962537" cy="2962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88997"/>
      </p:ext>
    </p:extLst>
  </p:cSld>
  <p:clrMapOvr>
    <a:masterClrMapping/>
  </p:clrMapOvr>
  <p:transition>
    <p:blinds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5400" b="1" dirty="0" smtClean="0"/>
              <a:t>电子报关委托书操作流程</a:t>
            </a:r>
            <a:endParaRPr lang="zh-CN" altLang="en-US" sz="5400" b="1" dirty="0"/>
          </a:p>
        </p:txBody>
      </p:sp>
      <p:sp>
        <p:nvSpPr>
          <p:cNvPr id="3" name="Rectangle 2"/>
          <p:cNvSpPr/>
          <p:nvPr/>
        </p:nvSpPr>
        <p:spPr>
          <a:xfrm>
            <a:off x="982112" y="2840319"/>
            <a:ext cx="14773596" cy="193899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TEP </a:t>
            </a:r>
            <a:r>
              <a:rPr 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选择“委托关系管理”，选择“报关企业查询”，</a:t>
            </a:r>
            <a:endParaRPr lang="en-US" altLang="zh-CN" sz="4000" dirty="0" smtClean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        “报关企业海关编码”栏录入报关企业海关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10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位数编码，</a:t>
            </a:r>
            <a:endParaRPr lang="en-US" altLang="zh-CN" sz="4000" dirty="0" smtClean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点击查询，勾选后发起委托申请</a:t>
            </a:r>
            <a:endParaRPr lang="en-US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189" y="4779311"/>
            <a:ext cx="14348595" cy="686872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841723" y="11705335"/>
            <a:ext cx="19850306" cy="255454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广州口岸：中</a:t>
            </a:r>
            <a:r>
              <a:rPr lang="zh-CN" alt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外运</a:t>
            </a:r>
            <a:r>
              <a:rPr lang="en-US" altLang="zh-CN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敦豪国际航空快件有限公司广东白云服务中心分公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司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440198Z002</a:t>
            </a:r>
          </a:p>
          <a:p>
            <a:r>
              <a:rPr lang="en-US" altLang="zh-CN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广</a:t>
            </a:r>
            <a:r>
              <a:rPr lang="zh-CN" alt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州市贯通报关代理有限公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司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4401983224</a:t>
            </a:r>
            <a:endParaRPr lang="en-US" altLang="zh-CN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4000" dirty="0" smtClean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en-US" altLang="zh-CN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82112" y="12982607"/>
            <a:ext cx="1677254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珠海口</a:t>
            </a:r>
            <a:r>
              <a:rPr lang="zh-CN" alt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岸：中外运</a:t>
            </a:r>
            <a:r>
              <a:rPr lang="en-US" altLang="zh-CN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敦豪国际航空快件有限公司珠海分公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司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440418Z00H</a:t>
            </a:r>
            <a:endParaRPr lang="en-US" altLang="zh-CN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97871" y="12987594"/>
            <a:ext cx="2962537" cy="2962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896909"/>
      </p:ext>
    </p:extLst>
  </p:cSld>
  <p:clrMapOvr>
    <a:masterClrMapping/>
  </p:clrMapOvr>
  <p:transition>
    <p:blinds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5400" b="1" dirty="0" smtClean="0"/>
              <a:t>电子报关委托书操作流程</a:t>
            </a:r>
            <a:endParaRPr lang="zh-CN" altLang="en-US" sz="5400" b="1" dirty="0"/>
          </a:p>
        </p:txBody>
      </p:sp>
      <p:sp>
        <p:nvSpPr>
          <p:cNvPr id="3" name="Rectangle 2"/>
          <p:cNvSpPr/>
          <p:nvPr/>
        </p:nvSpPr>
        <p:spPr>
          <a:xfrm>
            <a:off x="982112" y="2840319"/>
            <a:ext cx="17157261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TEP </a:t>
            </a:r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3   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选择“委托关系有效期”、“自动确认选择”、“委托方式选择”</a:t>
            </a:r>
            <a:endParaRPr lang="en-US" altLang="zh-CN" sz="4000" dirty="0" smtClean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最后点击“发起”以发起委托书申请</a:t>
            </a:r>
            <a:endParaRPr lang="en-US" altLang="zh-CN" sz="4000" dirty="0" smtClean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82112" y="9906696"/>
            <a:ext cx="15842799" cy="31700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“委托方式”：建议选择长期</a:t>
            </a:r>
            <a:endParaRPr lang="en-US" altLang="zh-CN" sz="4000" dirty="0" smtClean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“委托关系有效期”：可选择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个月内有效，建议选择</a:t>
            </a:r>
            <a:r>
              <a:rPr lang="en-US" altLang="zh-CN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endParaRPr lang="en-US" altLang="zh-CN" sz="4000" dirty="0" smtClean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“自动确认”：切记开启委托协议自动确认功能</a:t>
            </a:r>
            <a:endParaRPr lang="en-US" altLang="zh-CN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4000" dirty="0" smtClean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97871" y="12987594"/>
            <a:ext cx="2962537" cy="296253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885" y="4361409"/>
            <a:ext cx="15442371" cy="5347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83426"/>
      </p:ext>
    </p:extLst>
  </p:cSld>
  <p:clrMapOvr>
    <a:masterClrMapping/>
  </p:clrMapOvr>
  <p:transition>
    <p:blinds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HL_PPT_4x3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eme1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HL_PPT_4x3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Theme1" id="{80C0CBB1-E765-4927-A976-38DB5E1A7E8D}" vid="{8D80C5C7-7813-43FF-BA4F-A15E23F0713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01</TotalTime>
  <Words>320</Words>
  <Application>Microsoft Office PowerPoint</Application>
  <PresentationFormat>Custom</PresentationFormat>
  <Paragraphs>1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5" baseType="lpstr">
      <vt:lpstr>黑体</vt:lpstr>
      <vt:lpstr>宋体</vt:lpstr>
      <vt:lpstr>微软雅黑</vt:lpstr>
      <vt:lpstr>Arial</vt:lpstr>
      <vt:lpstr>Calibri</vt:lpstr>
      <vt:lpstr>Calibri Light</vt:lpstr>
      <vt:lpstr>Symbol</vt:lpstr>
      <vt:lpstr>Wingdings</vt:lpstr>
      <vt:lpstr>DHL_PPT_4x3</vt:lpstr>
      <vt:lpstr>Custom Design</vt:lpstr>
      <vt:lpstr>Theme1</vt:lpstr>
      <vt:lpstr>think-cell Folie</vt:lpstr>
      <vt:lpstr>电子报关委托书操作流程</vt:lpstr>
      <vt:lpstr>电子报关委托书操作流程</vt:lpstr>
      <vt:lpstr>电子报关委托书操作流程</vt:lpstr>
    </vt:vector>
  </TitlesOfParts>
  <Company>DH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rry Huo (SAO GWY)(DHL CN)</dc:creator>
  <cp:lastModifiedBy>Cherry Huo (SAO GWY)(DHL CN)</cp:lastModifiedBy>
  <cp:revision>145</cp:revision>
  <dcterms:created xsi:type="dcterms:W3CDTF">2019-04-25T15:48:06Z</dcterms:created>
  <dcterms:modified xsi:type="dcterms:W3CDTF">2020-02-24T03:56:52Z</dcterms:modified>
</cp:coreProperties>
</file>